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302" r:id="rId2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66" d="100"/>
          <a:sy n="66" d="100"/>
        </p:scale>
        <p:origin x="552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08E7BE-FC21-3941-9144-0A6D17A15E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2653904"/>
            <a:ext cx="10944224" cy="883642"/>
          </a:xfrm>
        </p:spPr>
        <p:txBody>
          <a:bodyPr anchor="b">
            <a:noAutofit/>
          </a:bodyPr>
          <a:lstStyle>
            <a:lvl1pPr algn="ctr">
              <a:defRPr sz="4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212CF59-18AF-4541-8840-B68AF0CABC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710584"/>
            <a:ext cx="10944224" cy="2347316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736E0AFC-2F9B-9C44-A28C-1E0A774CA924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6E8E34C0-0B68-EA43-A91F-06154E398F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77455" y="815745"/>
            <a:ext cx="3437087" cy="1204587"/>
          </a:xfrm>
          <a:prstGeom prst="rect">
            <a:avLst/>
          </a:prstGeom>
        </p:spPr>
      </p:pic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225FAD8B-416D-AA48-B2B5-78C171519C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2128878"/>
            <a:ext cx="10944224" cy="416480"/>
          </a:xfrm>
        </p:spPr>
        <p:txBody>
          <a:bodyPr/>
          <a:lstStyle>
            <a:lvl1pPr marL="0" indent="0" algn="ctr">
              <a:buNone/>
              <a:defRPr sz="2100"/>
            </a:lvl1pPr>
          </a:lstStyle>
          <a:p>
            <a:pPr lvl="0"/>
            <a:r>
              <a:rPr lang="nb-NO"/>
              <a:t>Sett inn navn på avsender</a:t>
            </a:r>
          </a:p>
        </p:txBody>
      </p:sp>
    </p:spTree>
    <p:extLst>
      <p:ext uri="{BB962C8B-B14F-4D97-AF65-F5344CB8AC3E}">
        <p14:creationId xmlns:p14="http://schemas.microsoft.com/office/powerpoint/2010/main" val="246335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CF8149C-6ABB-094A-942D-DC7E25921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CFC7C18-28E9-EA49-B8B5-996683F5DE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42B2836-1886-C648-BD39-A06391ACD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189A9F-2D9D-8347-96F8-7D734AACD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22625B4-F61F-2342-BC1B-0CECF449F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4073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6B60C608-14C1-FC41-BC97-5C1CF241FA3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2CF8149C-6ABB-094A-942D-DC7E25921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CFC7C18-28E9-EA49-B8B5-996683F5DE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42B2836-1886-C648-BD39-A06391ACD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7FB857-A31A-7249-B4E8-37C16EF5CC62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189A9F-2D9D-8347-96F8-7D734AACD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22625B4-F61F-2342-BC1B-0CECF449F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BE362959-784F-40CC-A520-75A624C224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93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s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6B60C608-14C1-FC41-BC97-5C1CF241FA3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2CF8149C-6ABB-094A-942D-DC7E25921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CFC7C18-28E9-EA49-B8B5-996683F5DE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42B2836-1886-C648-BD39-A06391ACD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DA261-C13B-3F42-9492-A1AF009151F2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189A9F-2D9D-8347-96F8-7D734AACD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22625B4-F61F-2342-BC1B-0CECF449F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566AAC39-ED21-4B13-9650-9A536F6973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09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F761DF0-8656-CF48-9122-92F8DC3C4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56821F2-A7CE-DF4D-AF21-138B443AE4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1385889"/>
            <a:ext cx="5292726" cy="4672012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39CF89B-927F-2043-B621-25F31CF4D1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87" y="1385889"/>
            <a:ext cx="5292725" cy="4672011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5974707-D6CE-C341-A972-6478A32FDE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E88B6-E66D-1049-95EA-32C0EE5A7891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CA237B0A-5B30-7541-B12E-C5CC726F56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A9C3EA2-0DF6-1741-9236-E191BAF59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58631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59D867C-F048-D046-988C-94A02192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25425"/>
            <a:ext cx="10944224" cy="8683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9E51054-560E-A941-91B2-9557D2700E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387475"/>
            <a:ext cx="5292725" cy="365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0AE458F-DB25-8C45-A41F-D62D8484CB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3888" y="2046287"/>
            <a:ext cx="5292725" cy="4011613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EB2031B9-C24F-3545-B8AA-35A976DFD2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5389" y="1387475"/>
            <a:ext cx="5292724" cy="365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8F759595-20BD-EA4D-8AA8-F99F55FE5E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5388" y="2046287"/>
            <a:ext cx="5292724" cy="4011613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A006F4C2-5293-E044-83D4-05CD33380E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EAAB4-E682-9F49-892F-12AC1E74BE2E}" type="datetime1">
              <a:rPr lang="nb-NO" smtClean="0"/>
              <a:t>28.09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1697B7BA-0E96-3140-8A35-EB726CD0A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748FF31-39B3-9A46-A424-FA2221D08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989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BC2C0A-E745-8A46-8FF0-5134C386A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25425"/>
            <a:ext cx="5292725" cy="868363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E21E4D8B-A8E5-F246-BF18-D6EC415A71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275388" y="0"/>
            <a:ext cx="5916612" cy="6858000"/>
          </a:xfrm>
          <a:pattFill prst="pct25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31B42287-BE59-A645-A7D7-BF59165819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3888" y="1385887"/>
            <a:ext cx="5292725" cy="4851399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5F2D47E-B89B-F842-B16D-C681196177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11C53C-C25E-8E48-B7FA-A6089A808DA3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0755696-5F05-2D47-8804-623906E6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F248C54-1722-034A-9777-ACFAFB26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4285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med tekst rød 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50B21C0D-34D6-CC48-B026-04FBA14EC411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998B0CB3-98B5-DE45-A6B8-C8DCB6EA58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87" y="1385889"/>
            <a:ext cx="5292725" cy="4672011"/>
          </a:xfrm>
        </p:spPr>
        <p:txBody>
          <a:bodyPr/>
          <a:lstStyle>
            <a:lvl1pPr>
              <a:defRPr sz="2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F9C92418-944A-DE45-84F4-3678D2B73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85EC9BE-EF3A-8749-AAF4-B3425C559574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ED2147FD-2928-044D-B8CD-0655BDC7E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D95FBE8-7FC7-614E-8C2A-060EB536D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72601CAB-C21E-D24F-BF67-C5098FFA2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225425"/>
            <a:ext cx="5292726" cy="8636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0A5CF174-B879-4D40-BD16-58B5AF8F40B1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385889"/>
            <a:ext cx="5292726" cy="4672012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09670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med tekst rød t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0637D52-5D87-7944-8733-8B9A8E2E287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F761DF0-8656-CF48-9122-92F8DC3C46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5388" y="225425"/>
            <a:ext cx="5292726" cy="8636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56821F2-A7CE-DF4D-AF21-138B443AE4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75389" y="1385889"/>
            <a:ext cx="5292726" cy="4672012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5974707-D6CE-C341-A972-6478A32FDE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BC56F16F-1804-3848-99E7-299DAB3D245D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CA237B0A-5B30-7541-B12E-C5CC726F56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75388" y="6437935"/>
            <a:ext cx="4125210" cy="212492"/>
          </a:xfrm>
        </p:spPr>
        <p:txBody>
          <a:bodyPr/>
          <a:lstStyle>
            <a:lvl1pPr algn="l"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A9C3EA2-0DF6-1741-9236-E191BAF59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4254A864-6B0E-8941-B78B-7792DBB7B23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385889"/>
            <a:ext cx="5292726" cy="4672012"/>
          </a:xfrm>
        </p:spPr>
        <p:txBody>
          <a:bodyPr/>
          <a:lstStyle>
            <a:lvl1pPr>
              <a:defRPr sz="2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49D2EB65-5924-4711-90A7-BA4B7C1A8C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398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089026"/>
            <a:ext cx="10944224" cy="4968874"/>
          </a:xfrm>
        </p:spPr>
        <p:txBody>
          <a:bodyPr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b-NO"/>
              <a:t>«Klikk for å redigere tittelstil»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76686C-283D-F648-AC3F-1406D58D3986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AF8E42EA-269B-4ECC-9850-292FD579DB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3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g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089026"/>
            <a:ext cx="10944224" cy="4968874"/>
          </a:xfrm>
        </p:spPr>
        <p:txBody>
          <a:bodyPr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b-NO"/>
              <a:t>«Klikk for å redigere tittelstil»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CAF970-D685-7546-8718-61AD5B7B15DD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860E7C6-9DF7-4EA3-83E4-C17FDB8431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70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5153172C-E5A6-B547-B606-488AA18D1FD3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7F01347-EC45-3B4E-94CF-99D6430B0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4AFB86AD-8F62-3B47-B902-D3A1DE88A4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77457" y="815745"/>
            <a:ext cx="3437084" cy="1204586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0E146FB5-7AA5-0241-8285-0DDE0786D5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2653904"/>
            <a:ext cx="10944224" cy="883642"/>
          </a:xfrm>
        </p:spPr>
        <p:txBody>
          <a:bodyPr anchor="b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6570C908-4686-524E-8921-ECE5178511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710584"/>
            <a:ext cx="10944224" cy="2347316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13" name="Plassholder for tekst 6">
            <a:extLst>
              <a:ext uri="{FF2B5EF4-FFF2-40B4-BE49-F238E27FC236}">
                <a16:creationId xmlns:a16="http://schemas.microsoft.com/office/drawing/2014/main" id="{1915944F-F5FF-CF4C-B5E1-B60D0B84FE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2128878"/>
            <a:ext cx="10944224" cy="416480"/>
          </a:xfrm>
        </p:spPr>
        <p:txBody>
          <a:bodyPr/>
          <a:lstStyle>
            <a:lvl1pPr marL="0" indent="0" algn="ctr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navn på avsender</a:t>
            </a:r>
          </a:p>
        </p:txBody>
      </p:sp>
    </p:spTree>
    <p:extLst>
      <p:ext uri="{BB962C8B-B14F-4D97-AF65-F5344CB8AC3E}">
        <p14:creationId xmlns:p14="http://schemas.microsoft.com/office/powerpoint/2010/main" val="156233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089026"/>
            <a:ext cx="10944224" cy="4968874"/>
          </a:xfrm>
        </p:spPr>
        <p:txBody>
          <a:bodyPr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b-NO"/>
              <a:t>«Klikk for å redigere tittelstil»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59755F-ED6E-EB4E-925D-0BDB2585A6D3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397351EF-056E-4517-9C73-21D7C6F6CB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34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089026"/>
            <a:ext cx="10944224" cy="4968874"/>
          </a:xfrm>
        </p:spPr>
        <p:txBody>
          <a:bodyPr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b-NO"/>
              <a:t>«Klikk for å redigere tittelstil»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1B26B0-9B72-1342-8A07-79F52C607727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0C4AFC30-18BD-4EC3-9866-47DB62E7FD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883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89AE69D-E235-D048-BDFA-FDEF686B7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E5E12DA7-64E8-3B42-956B-662E98C635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115C1-0DCF-AD42-8642-059163C9676D}" type="datetime1">
              <a:rPr lang="nb-NO" smtClean="0"/>
              <a:t>28.09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136727F2-04C5-944F-B4BC-6F064051FF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3508390C-3BBE-5741-8A43-6C981A3EE7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2643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bilde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BC2C0A-E745-8A46-8FF0-5134C386A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25425"/>
            <a:ext cx="10944224" cy="868363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E21E4D8B-A8E5-F246-BF18-D6EC415A71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1093788"/>
            <a:ext cx="12192000" cy="5143500"/>
          </a:xfrm>
          <a:pattFill prst="pct25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5F2D47E-B89B-F842-B16D-C681196177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20A9CB-89B6-5B49-B2D2-183358EA6832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0755696-5F05-2D47-8804-623906E6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F248C54-1722-034A-9777-ACFAFB26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14287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bilde med tittel i rød 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E21E4D8B-A8E5-F246-BF18-D6EC415A71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237288"/>
          </a:xfrm>
          <a:pattFill prst="pct25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7BC2C0A-E745-8A46-8FF0-5134C386A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1"/>
            <a:ext cx="12191999" cy="1093788"/>
          </a:xfrm>
          <a:solidFill>
            <a:schemeClr val="accent1">
              <a:lumMod val="75000"/>
              <a:alpha val="80000"/>
            </a:schemeClr>
          </a:solidFill>
        </p:spPr>
        <p:txBody>
          <a:bodyPr lIns="612000" tIns="216000"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5F2D47E-B89B-F842-B16D-C681196177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0A6A3-A14A-8449-BA07-5BD9683D3999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0755696-5F05-2D47-8804-623906E6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F248C54-1722-034A-9777-ACFAFB26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5728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E21E4D8B-A8E5-F246-BF18-D6EC415A71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237288"/>
          </a:xfrm>
          <a:pattFill prst="pct25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5F2D47E-B89B-F842-B16D-C681196177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EB633-2054-B64D-8402-970C3237C093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0755696-5F05-2D47-8804-623906E6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F248C54-1722-034A-9777-ACFAFB26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32761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BC2C0A-E745-8A46-8FF0-5134C386A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25425"/>
            <a:ext cx="10944224" cy="868363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E21E4D8B-A8E5-F246-BF18-D6EC415A71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1093788"/>
            <a:ext cx="6096000" cy="5143500"/>
          </a:xfrm>
          <a:pattFill prst="pct25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5F2D47E-B89B-F842-B16D-C681196177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B4847-2AE9-534D-BF34-25506296C437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0755696-5F05-2D47-8804-623906E6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F248C54-1722-034A-9777-ACFAFB26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2">
            <a:extLst>
              <a:ext uri="{FF2B5EF4-FFF2-40B4-BE49-F238E27FC236}">
                <a16:creationId xmlns:a16="http://schemas.microsoft.com/office/drawing/2014/main" id="{14994145-8B91-CF4E-BC89-31C3CF6F567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096000" y="1093788"/>
            <a:ext cx="6096000" cy="5143500"/>
          </a:xfrm>
          <a:pattFill prst="pct25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457809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s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0235EB93-88B3-6D47-A629-2E1C1391743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7BC2C0A-E745-8A46-8FF0-5134C386A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25425"/>
            <a:ext cx="10944224" cy="868363"/>
          </a:xfrm>
          <a:noFill/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5F2D47E-B89B-F842-B16D-C681196177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2CAA61-8483-6A40-BA36-FB129DE01873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0755696-5F05-2D47-8804-623906E6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F248C54-1722-034A-9777-ACFAFB26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6E16E210-0AAC-40CE-BE9F-A68F877DB0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93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66A3D0F3-9AFC-EC44-982D-1FEBDB4A62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0A347-3E81-5043-AB2C-570E496480F1}" type="datetime1">
              <a:rPr lang="nb-NO" smtClean="0"/>
              <a:t>28.09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805C4255-99DD-814C-A9AD-3F510292E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90D5D13A-1C4D-754C-9ABB-8C6865100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335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0260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C08CBCE2-CDEC-5E4A-8C98-F125190FEF95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7F01347-EC45-3B4E-94CF-99D6430B0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33150638-BDEA-D943-9B94-1DAD8D1F4B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2653904"/>
            <a:ext cx="10944224" cy="883642"/>
          </a:xfrm>
        </p:spPr>
        <p:txBody>
          <a:bodyPr anchor="b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4B490713-A5E9-B142-B383-F0DD11F0D3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710584"/>
            <a:ext cx="10944224" cy="2347316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13" name="Plassholder for tekst 6">
            <a:extLst>
              <a:ext uri="{FF2B5EF4-FFF2-40B4-BE49-F238E27FC236}">
                <a16:creationId xmlns:a16="http://schemas.microsoft.com/office/drawing/2014/main" id="{E5625621-DC74-CA44-9FC9-A4A0E42779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2128878"/>
            <a:ext cx="10944224" cy="416480"/>
          </a:xfrm>
        </p:spPr>
        <p:txBody>
          <a:bodyPr/>
          <a:lstStyle>
            <a:lvl1pPr marL="0" indent="0" algn="ctr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navn på avsender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D766B77B-470E-4249-897A-7CA8FE8F86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77457" y="815745"/>
            <a:ext cx="3437084" cy="1204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936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s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05F0F483-C409-B044-AFFC-F8B179D478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16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te side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F4CC2FA6-23BD-0E4F-A3AA-E7DFFF2B9C96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202FA7AE-394A-514F-9E12-94A1FAA70C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406191"/>
            <a:ext cx="10944224" cy="1022809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Sett inn tekst </a:t>
            </a:r>
            <a:r>
              <a:rPr lang="nb-NO" noProof="0" err="1"/>
              <a:t>f.eks</a:t>
            </a:r>
            <a:r>
              <a:rPr lang="nb-NO" noProof="0"/>
              <a:t> takk for meg!</a:t>
            </a:r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250C8E91-B07B-BE4C-BF87-F9F72D11F1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602039"/>
            <a:ext cx="10944224" cy="100644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C889A61C-0330-D64F-8237-B170F821F0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844353"/>
            <a:ext cx="4101276" cy="639085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418C3EE5-02DB-A843-8685-A7E3CB168F7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6380" y="7477757"/>
            <a:ext cx="468351" cy="468351"/>
          </a:xfrm>
          <a:prstGeom prst="rect">
            <a:avLst/>
          </a:prstGeom>
        </p:spPr>
      </p:pic>
      <p:sp>
        <p:nvSpPr>
          <p:cNvPr id="18" name="Plassholder for innhold 2">
            <a:extLst>
              <a:ext uri="{FF2B5EF4-FFF2-40B4-BE49-F238E27FC236}">
                <a16:creationId xmlns:a16="http://schemas.microsoft.com/office/drawing/2014/main" id="{4E8B2218-8DAE-4EF7-8B6B-E3A7F52D82D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64585" y="5835191"/>
            <a:ext cx="5203527" cy="266850"/>
          </a:xfrm>
        </p:spPr>
        <p:txBody>
          <a:bodyPr/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enhetens nettside</a:t>
            </a:r>
          </a:p>
        </p:txBody>
      </p:sp>
    </p:spTree>
    <p:extLst>
      <p:ext uri="{BB962C8B-B14F-4D97-AF65-F5344CB8AC3E}">
        <p14:creationId xmlns:p14="http://schemas.microsoft.com/office/powerpoint/2010/main" val="338966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te side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3A08CD34-AC08-6442-B83D-86E2FC5C0A0B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202FA7AE-394A-514F-9E12-94A1FAA70C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406191"/>
            <a:ext cx="10944224" cy="1022809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Takk for meg!</a:t>
            </a:r>
          </a:p>
        </p:txBody>
      </p:sp>
      <p:sp>
        <p:nvSpPr>
          <p:cNvPr id="20" name="Undertittel 2">
            <a:extLst>
              <a:ext uri="{FF2B5EF4-FFF2-40B4-BE49-F238E27FC236}">
                <a16:creationId xmlns:a16="http://schemas.microsoft.com/office/drawing/2014/main" id="{6E5DA0CA-E9CB-3349-B5A0-C88F270134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602039"/>
            <a:ext cx="10944224" cy="100644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3ACCE1F9-3AE7-4367-962F-FE1F8699D01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64585" y="5835191"/>
            <a:ext cx="5203527" cy="266850"/>
          </a:xfrm>
        </p:spPr>
        <p:txBody>
          <a:bodyPr/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enhetens nettside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AD0D0B57-D1C1-4382-8E06-D4F3D7D6F5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844353"/>
            <a:ext cx="4101276" cy="639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05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te side g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957E9185-59FC-564F-B555-5503B0667FCA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202FA7AE-394A-514F-9E12-94A1FAA70C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406191"/>
            <a:ext cx="10944224" cy="1022809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Takk for meg!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19BDFB95-9F63-C844-A22A-2F308C5C6C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602039"/>
            <a:ext cx="10944224" cy="100644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1388652-918C-4D93-82AF-2C10A299F3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64585" y="5835191"/>
            <a:ext cx="5203527" cy="266850"/>
          </a:xfrm>
        </p:spPr>
        <p:txBody>
          <a:bodyPr/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enhetens nettside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FFF2EF1C-E857-4D18-B225-BA495B7ED0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844353"/>
            <a:ext cx="4101276" cy="639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26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te side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ECD2DCB2-8DC2-5E44-897B-F28A10D61BB6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202FA7AE-394A-514F-9E12-94A1FAA70C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406191"/>
            <a:ext cx="10944224" cy="1022809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Takk for meg!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43FECCB4-4595-4249-AC4B-CFB26F9EB1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602039"/>
            <a:ext cx="10944224" cy="100644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21" name="Plassholder for innhold 2">
            <a:extLst>
              <a:ext uri="{FF2B5EF4-FFF2-40B4-BE49-F238E27FC236}">
                <a16:creationId xmlns:a16="http://schemas.microsoft.com/office/drawing/2014/main" id="{15FB502D-6EDF-47F0-B2F7-46DF6AA2C44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64585" y="5835191"/>
            <a:ext cx="5203527" cy="266850"/>
          </a:xfrm>
        </p:spPr>
        <p:txBody>
          <a:bodyPr/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enhetens nettside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F1F54C4D-3BEE-48CB-823E-8AEB77C00A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844353"/>
            <a:ext cx="4101276" cy="639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35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CA325D4D-835D-41B6-9B16-A090AA08832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nb-NO" noProof="0"/>
              <a:t>Klikk for å legge til bilde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D1D87D16-A856-42F4-9D8C-A0C1D482E5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442052"/>
            <a:ext cx="12192000" cy="1425257"/>
          </a:xfrm>
          <a:prstGeom prst="rect">
            <a:avLst/>
          </a:prstGeom>
          <a:solidFill>
            <a:schemeClr val="accent4">
              <a:lumMod val="50000"/>
              <a:alpha val="55000"/>
            </a:schemeClr>
          </a:solidFill>
        </p:spPr>
        <p:txBody>
          <a:bodyPr rtlCol="0" anchor="ctr"/>
          <a:lstStyle>
            <a:lvl1pPr algn="ctr">
              <a:defRPr sz="6000" cap="all" spc="100" baseline="0">
                <a:solidFill>
                  <a:schemeClr val="accent1"/>
                </a:solidFill>
              </a:defRPr>
            </a:lvl1pPr>
          </a:lstStyle>
          <a:p>
            <a:pPr rtl="0"/>
            <a:r>
              <a:rPr lang="nb-NO" noProof="0"/>
              <a:t>Legg til tittel</a:t>
            </a:r>
          </a:p>
        </p:txBody>
      </p:sp>
      <p:sp>
        <p:nvSpPr>
          <p:cNvPr id="12" name="Plassholder for tekst 10">
            <a:extLst>
              <a:ext uri="{FF2B5EF4-FFF2-40B4-BE49-F238E27FC236}">
                <a16:creationId xmlns:a16="http://schemas.microsoft.com/office/drawing/2014/main" id="{BD39BB44-64AC-49A7-8555-2CC62AD7C2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867309"/>
            <a:ext cx="12192000" cy="1036320"/>
          </a:xfrm>
          <a:prstGeom prst="rect">
            <a:avLst/>
          </a:prstGeom>
          <a:solidFill>
            <a:schemeClr val="accent4">
              <a:lumMod val="50000"/>
              <a:alpha val="55000"/>
            </a:schemeClr>
          </a:solidFill>
        </p:spPr>
        <p:txBody>
          <a:bodyPr rtlCol="0" anchor="ctr"/>
          <a:lstStyle>
            <a:lvl1pPr marL="0" indent="0" algn="ctr">
              <a:buNone/>
              <a:defRPr sz="2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nb-NO" noProof="0"/>
              <a:t>Klikk for å legge til undertittel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9F51AF15-A085-49C8-ABEC-EF90E7D7B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192779" y="2325925"/>
            <a:ext cx="5806440" cy="1596549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47337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m 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DC1E109A-BBBE-498A-AC65-464AAF571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6874" y="1329829"/>
            <a:ext cx="2043713" cy="640698"/>
          </a:xfrm>
          <a:prstGeom prst="rect">
            <a:avLst/>
          </a:prstGeom>
          <a:ln w="28575">
            <a:solidFill>
              <a:schemeClr val="accent2"/>
            </a:solidFill>
          </a:ln>
        </p:spPr>
        <p:txBody>
          <a:bodyPr rtlCol="0" anchor="ctr"/>
          <a:lstStyle>
            <a:lvl1pPr algn="ctr">
              <a:lnSpc>
                <a:spcPct val="100000"/>
              </a:lnSpc>
              <a:defRPr sz="2400" cap="all" spc="100" baseline="0">
                <a:solidFill>
                  <a:schemeClr val="accent2"/>
                </a:solidFill>
              </a:defRPr>
            </a:lvl1pPr>
          </a:lstStyle>
          <a:p>
            <a:pPr rtl="0"/>
            <a:r>
              <a:rPr lang="nb-NO" noProof="0"/>
              <a:t>tittel</a:t>
            </a:r>
          </a:p>
        </p:txBody>
      </p:sp>
      <p:sp>
        <p:nvSpPr>
          <p:cNvPr id="10" name="Plassholder for tekst 10">
            <a:extLst>
              <a:ext uri="{FF2B5EF4-FFF2-40B4-BE49-F238E27FC236}">
                <a16:creationId xmlns:a16="http://schemas.microsoft.com/office/drawing/2014/main" id="{7408009F-7441-4960-8688-598E553778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2513" y="808353"/>
            <a:ext cx="6341212" cy="1682433"/>
          </a:xfrm>
          <a:prstGeom prst="rect">
            <a:avLst/>
          </a:prstGeom>
        </p:spPr>
        <p:txBody>
          <a:bodyPr rtlCol="0" anchor="t"/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6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nb-NO" noProof="0"/>
              <a:t>Klikk for å legge til tekst</a:t>
            </a:r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0721A019-F5C2-4A15-A6AE-C03209D1D7D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3234519"/>
            <a:ext cx="12192000" cy="3623481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nb-NO" noProof="0"/>
              <a:t>Klikk for å legge til bilde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CFE1DF53-32D0-456E-8221-7FCD23325D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1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rtl="0"/>
            <a:r>
              <a:rPr lang="nb-NO" noProof="0"/>
              <a:t>20XX</a:t>
            </a:r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DC108F1B-58C5-43B6-8251-B1392CA9A8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 cap="all" spc="1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</a:lstStyle>
          <a:p>
            <a:pPr rtl="0"/>
            <a:r>
              <a:rPr lang="nb-NO" noProof="0"/>
              <a:t>Salgspresentasjon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30B1E0-03D4-4E5B-A2A7-903B17B306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pc="1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rtl="0"/>
            <a:fld id="{EA87306C-81BA-4795-A5CA-9392456A8C1E}" type="slidenum">
              <a:rPr lang="nb-NO" noProof="0" smtClean="0"/>
              <a:pPr rtl="0"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320965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retningsmodell">
    <p:bg>
      <p:bgPr>
        <a:solidFill>
          <a:schemeClr val="accent5">
            <a:alpha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bilde 8">
            <a:extLst>
              <a:ext uri="{FF2B5EF4-FFF2-40B4-BE49-F238E27FC236}">
                <a16:creationId xmlns:a16="http://schemas.microsoft.com/office/drawing/2014/main" id="{50298920-F98C-4AFF-A39F-BB5644F96EB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6772276" cy="6858000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nb-NO" noProof="0"/>
              <a:t>Klikk for å legge til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D906EC1-D867-4113-B1E4-72ADCC4B15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61354" y="790901"/>
            <a:ext cx="3049568" cy="640698"/>
          </a:xfrm>
          <a:prstGeom prst="rect">
            <a:avLst/>
          </a:prstGeom>
          <a:gradFill>
            <a:gsLst>
              <a:gs pos="50000">
                <a:schemeClr val="accent1">
                  <a:lumMod val="5000"/>
                  <a:lumOff val="95000"/>
                  <a:alpha val="0"/>
                </a:schemeClr>
              </a:gs>
              <a:gs pos="50000">
                <a:schemeClr val="accent5">
                  <a:alpha val="10000"/>
                </a:schemeClr>
              </a:gs>
            </a:gsLst>
            <a:lin ang="0" scaled="0"/>
          </a:gradFill>
          <a:ln w="28575">
            <a:solidFill>
              <a:schemeClr val="bg1"/>
            </a:solidFill>
          </a:ln>
        </p:spPr>
        <p:txBody>
          <a:bodyPr rtlCol="0" anchor="ctr"/>
          <a:lstStyle>
            <a:lvl1pPr algn="ctr">
              <a:defRPr sz="2400" cap="all" spc="100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nb-NO" noProof="0"/>
              <a:t>Legg til tittel</a:t>
            </a:r>
          </a:p>
        </p:txBody>
      </p:sp>
      <p:sp>
        <p:nvSpPr>
          <p:cNvPr id="16" name="Plassholder for tekst 10">
            <a:extLst>
              <a:ext uri="{FF2B5EF4-FFF2-40B4-BE49-F238E27FC236}">
                <a16:creationId xmlns:a16="http://schemas.microsoft.com/office/drawing/2014/main" id="{782CE97E-7FF6-4E8B-AF42-9777A2451F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22086" y="826720"/>
            <a:ext cx="3421103" cy="426393"/>
          </a:xfrm>
          <a:prstGeom prst="rect">
            <a:avLst/>
          </a:prstGeom>
        </p:spPr>
        <p:txBody>
          <a:bodyPr rtlCol="0" anchor="b"/>
          <a:lstStyle>
            <a:lvl1pPr marL="0" indent="0" algn="l">
              <a:buNone/>
              <a:defRPr sz="1800" cap="all" spc="10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 rtl="0"/>
            <a:r>
              <a:rPr lang="nb-NO" noProof="0"/>
              <a:t>Klikk for å legge til undertittel</a:t>
            </a:r>
          </a:p>
        </p:txBody>
      </p:sp>
      <p:sp>
        <p:nvSpPr>
          <p:cNvPr id="14" name="Plassholder for tekst 10">
            <a:extLst>
              <a:ext uri="{FF2B5EF4-FFF2-40B4-BE49-F238E27FC236}">
                <a16:creationId xmlns:a16="http://schemas.microsoft.com/office/drawing/2014/main" id="{F57B5FEE-44D7-4F94-A843-EC7BD802D8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2086" y="1206225"/>
            <a:ext cx="3421103" cy="1017102"/>
          </a:xfrm>
          <a:prstGeom prst="rect">
            <a:avLst/>
          </a:prstGeom>
        </p:spPr>
        <p:txBody>
          <a:bodyPr rtlCol="0" anchor="t"/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6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nb-NO" noProof="0"/>
              <a:t>Klikk for å legge til tekst</a:t>
            </a:r>
          </a:p>
        </p:txBody>
      </p:sp>
      <p:sp>
        <p:nvSpPr>
          <p:cNvPr id="36" name="Plassholder for tekst 10">
            <a:extLst>
              <a:ext uri="{FF2B5EF4-FFF2-40B4-BE49-F238E27FC236}">
                <a16:creationId xmlns:a16="http://schemas.microsoft.com/office/drawing/2014/main" id="{4250112D-DE79-407A-BBAB-B2BB2CB881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22086" y="2666702"/>
            <a:ext cx="3421103" cy="426393"/>
          </a:xfrm>
          <a:prstGeom prst="rect">
            <a:avLst/>
          </a:prstGeom>
        </p:spPr>
        <p:txBody>
          <a:bodyPr rtlCol="0" anchor="b"/>
          <a:lstStyle>
            <a:lvl1pPr marL="0" indent="0" algn="l">
              <a:buNone/>
              <a:defRPr sz="1800" cap="all" spc="10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 rtl="0"/>
            <a:r>
              <a:rPr lang="nb-NO" noProof="0"/>
              <a:t>Klikk for å legge til undertittel</a:t>
            </a:r>
          </a:p>
        </p:txBody>
      </p:sp>
      <p:sp>
        <p:nvSpPr>
          <p:cNvPr id="35" name="Plassholder for tekst 10">
            <a:extLst>
              <a:ext uri="{FF2B5EF4-FFF2-40B4-BE49-F238E27FC236}">
                <a16:creationId xmlns:a16="http://schemas.microsoft.com/office/drawing/2014/main" id="{1C55DCE1-6E6B-4CDD-A9D8-B2A0034856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22086" y="3046207"/>
            <a:ext cx="3421103" cy="1017102"/>
          </a:xfrm>
          <a:prstGeom prst="rect">
            <a:avLst/>
          </a:prstGeom>
        </p:spPr>
        <p:txBody>
          <a:bodyPr rtlCol="0" anchor="t"/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6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nb-NO" noProof="0"/>
              <a:t>Klikk for å legge til tekst</a:t>
            </a:r>
          </a:p>
        </p:txBody>
      </p:sp>
      <p:sp>
        <p:nvSpPr>
          <p:cNvPr id="39" name="Plassholder for tekst 10">
            <a:extLst>
              <a:ext uri="{FF2B5EF4-FFF2-40B4-BE49-F238E27FC236}">
                <a16:creationId xmlns:a16="http://schemas.microsoft.com/office/drawing/2014/main" id="{9CAE3862-A5E9-4B70-8F14-8F5BFEE3AAE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822086" y="4536575"/>
            <a:ext cx="3421103" cy="426393"/>
          </a:xfrm>
          <a:prstGeom prst="rect">
            <a:avLst/>
          </a:prstGeom>
        </p:spPr>
        <p:txBody>
          <a:bodyPr rtlCol="0" anchor="b"/>
          <a:lstStyle>
            <a:lvl1pPr marL="0" indent="0" algn="l">
              <a:buNone/>
              <a:defRPr sz="1800" cap="all" spc="10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 rtl="0"/>
            <a:r>
              <a:rPr lang="nb-NO" noProof="0"/>
              <a:t>Klikk for å legge til undertittel</a:t>
            </a:r>
          </a:p>
        </p:txBody>
      </p:sp>
      <p:sp>
        <p:nvSpPr>
          <p:cNvPr id="38" name="Plassholder for tekst 10">
            <a:extLst>
              <a:ext uri="{FF2B5EF4-FFF2-40B4-BE49-F238E27FC236}">
                <a16:creationId xmlns:a16="http://schemas.microsoft.com/office/drawing/2014/main" id="{34C23C4D-3C16-4A17-BF8A-A9C4E2F01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22086" y="4916080"/>
            <a:ext cx="3421103" cy="1017102"/>
          </a:xfrm>
          <a:prstGeom prst="rect">
            <a:avLst/>
          </a:prstGeom>
        </p:spPr>
        <p:txBody>
          <a:bodyPr rtlCol="0" anchor="t"/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6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nb-NO" noProof="0"/>
              <a:t>Klikk for å legge til tekst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E0398655-42A6-4DBC-9542-9A8D10B44A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5906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1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rtl="0"/>
            <a:r>
              <a:rPr lang="nb-NO" noProof="0"/>
              <a:t>20XX</a:t>
            </a:r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1FF7C44B-1689-4CA8-B0BC-0671EA1275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7360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 cap="all" spc="100" baseline="0">
                <a:solidFill>
                  <a:schemeClr val="bg2">
                    <a:lumMod val="50000"/>
                  </a:schemeClr>
                </a:solidFill>
                <a:effectLst/>
                <a:latin typeface="+mj-lt"/>
              </a:defRPr>
            </a:lvl1pPr>
          </a:lstStyle>
          <a:p>
            <a:pPr rtl="0"/>
            <a:r>
              <a:rPr lang="nb-NO" noProof="0"/>
              <a:t>Salgspresentasjon</a:t>
            </a:r>
          </a:p>
        </p:txBody>
      </p:sp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7D6105C8-7607-448C-9CD2-9CA33B49B4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91700" y="6356350"/>
            <a:ext cx="1562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pc="1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rtl="0"/>
            <a:fld id="{EA87306C-81BA-4795-A5CA-9392456A8C1E}" type="slidenum">
              <a:rPr lang="nb-NO" noProof="0" smtClean="0"/>
              <a:pPr rtl="0"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53829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8677268F-F4F9-784E-BF23-EA1CACFD53E7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7F01347-EC45-3B4E-94CF-99D6430B0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0BBFE621-FDA3-9A4B-9872-BA22295708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2653904"/>
            <a:ext cx="10944224" cy="883642"/>
          </a:xfrm>
        </p:spPr>
        <p:txBody>
          <a:bodyPr anchor="b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A001A0F5-F2B1-984B-81DC-C18544C064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710584"/>
            <a:ext cx="10944224" cy="2347316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13" name="Plassholder for tekst 6">
            <a:extLst>
              <a:ext uri="{FF2B5EF4-FFF2-40B4-BE49-F238E27FC236}">
                <a16:creationId xmlns:a16="http://schemas.microsoft.com/office/drawing/2014/main" id="{CEC0B5B0-1EE0-554E-B0FC-46F791948E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2128878"/>
            <a:ext cx="10944224" cy="416480"/>
          </a:xfrm>
        </p:spPr>
        <p:txBody>
          <a:bodyPr/>
          <a:lstStyle>
            <a:lvl1pPr marL="0" indent="0" algn="ctr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navn på avsender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DF26D8D1-25CC-452D-A7FF-B05CAC49BC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77457" y="815745"/>
            <a:ext cx="3437084" cy="1204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13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g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D989A85-7F6E-E044-B7F8-167AD93A93BB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7F01347-EC45-3B4E-94CF-99D6430B0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CD06575-6B5A-A04E-B329-1D0AD6A25D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2653904"/>
            <a:ext cx="10944224" cy="883642"/>
          </a:xfrm>
        </p:spPr>
        <p:txBody>
          <a:bodyPr anchor="b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D4B1805F-2AE6-8E4B-A44F-BD67998C17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710584"/>
            <a:ext cx="10944224" cy="2347316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11" name="Plassholder for tekst 6">
            <a:extLst>
              <a:ext uri="{FF2B5EF4-FFF2-40B4-BE49-F238E27FC236}">
                <a16:creationId xmlns:a16="http://schemas.microsoft.com/office/drawing/2014/main" id="{A75FA386-D78A-5341-8214-AF27F9AFD4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2128878"/>
            <a:ext cx="10944224" cy="416480"/>
          </a:xfrm>
        </p:spPr>
        <p:txBody>
          <a:bodyPr/>
          <a:lstStyle>
            <a:lvl1pPr marL="0" indent="0" algn="ctr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navn på avsender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B2457C24-6AEA-4709-BB88-4F03948B45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77457" y="815745"/>
            <a:ext cx="3437084" cy="1204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54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C3E5949-891A-984F-BA2C-C3FC864901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130" y="0"/>
            <a:ext cx="10347739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089026"/>
            <a:ext cx="10944224" cy="2420938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4C4035B-E535-AD4F-A272-94ED280C5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602039"/>
            <a:ext cx="10944225" cy="2455861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DF487B-8477-2149-9AA3-98E65B249604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D4821732-F8CE-5E41-A05E-0383AF6432D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134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C3E5949-891A-984F-BA2C-C3FC864901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130" y="0"/>
            <a:ext cx="10347739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089026"/>
            <a:ext cx="10944224" cy="2420938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4C4035B-E535-AD4F-A272-94ED280C5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602039"/>
            <a:ext cx="10944225" cy="2455861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0F6B007-F089-1E47-A029-515775F38509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2361D07E-ABD7-49F0-8849-3C7B18DFBC1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375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C3E5949-891A-984F-BA2C-C3FC864901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130" y="0"/>
            <a:ext cx="10347739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089026"/>
            <a:ext cx="10944224" cy="2420938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4C4035B-E535-AD4F-A272-94ED280C5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602039"/>
            <a:ext cx="10944225" cy="2455861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C8F06A8-7708-F449-BBEB-8D82008CCD6B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37C7713C-0D7B-410D-866B-CC5B36FA79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02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g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C3E5949-891A-984F-BA2C-C3FC864901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130" y="0"/>
            <a:ext cx="10347739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089026"/>
            <a:ext cx="10944224" cy="2420938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4C4035B-E535-AD4F-A272-94ED280C5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602039"/>
            <a:ext cx="10944225" cy="2455861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7A0E4E-754C-5E4A-8C53-243A384D4282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9C46C82B-E322-4A35-81DC-E7BDB53190F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68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D2E53F3-760E-7EA0-3033-A738545B7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513219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06" imgH="305" progId="TCLayout.ActiveDocument.1">
                  <p:embed/>
                </p:oleObj>
              </mc:Choice>
              <mc:Fallback>
                <p:oleObj name="think-cell Slide" r:id="rId40" imgW="306" imgH="30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D2E53F3-760E-7EA0-3033-A738545B7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2AF269B3-BEF0-E04A-9125-2E284FBAE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225425"/>
            <a:ext cx="10944226" cy="863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F69DAFA-A756-634F-8F62-44B8D41CDA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1385888"/>
            <a:ext cx="10944226" cy="46727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C4F3F7C-A4AA-AF42-8F10-BE862A9EC9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84745" y="6437935"/>
            <a:ext cx="1083367" cy="2124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2655427F-18F2-AA41-8FD1-542CB7F8D202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1138DA2-808A-6243-B616-8D29162A6C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78955" y="6437935"/>
            <a:ext cx="7321643" cy="2124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F9FE079-08DB-8B42-A4AD-A254231BF7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8957" y="6437935"/>
            <a:ext cx="347663" cy="2124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609C2D23-5413-0C4E-90E8-570584B1AF6C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639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</p:sldLayoutIdLst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30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29">
          <p15:clr>
            <a:srgbClr val="F26B43"/>
          </p15:clr>
        </p15:guide>
        <p15:guide id="2" pos="3840">
          <p15:clr>
            <a:srgbClr val="F26B43"/>
          </p15:clr>
        </p15:guide>
        <p15:guide id="3" pos="393">
          <p15:clr>
            <a:srgbClr val="F26B43"/>
          </p15:clr>
        </p15:guide>
        <p15:guide id="4" pos="7287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4150">
          <p15:clr>
            <a:srgbClr val="F26B43"/>
          </p15:clr>
        </p15:guide>
        <p15:guide id="7" orient="horz" pos="873">
          <p15:clr>
            <a:srgbClr val="F26B43"/>
          </p15:clr>
        </p15:guide>
        <p15:guide id="8" orient="horz" pos="142">
          <p15:clr>
            <a:srgbClr val="F26B43"/>
          </p15:clr>
        </p15:guide>
        <p15:guide id="9" pos="3727">
          <p15:clr>
            <a:srgbClr val="F26B43"/>
          </p15:clr>
        </p15:guide>
        <p15:guide id="10" pos="3953">
          <p15:clr>
            <a:srgbClr val="F26B43"/>
          </p15:clr>
        </p15:guide>
        <p15:guide id="12" orient="horz" pos="689">
          <p15:clr>
            <a:srgbClr val="F26B43"/>
          </p15:clr>
        </p15:guide>
        <p15:guide id="13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.xml"/><Relationship Id="rId6" Type="http://schemas.openxmlformats.org/officeDocument/2006/relationships/hyperlink" Target="http://www.kyrkja.no/bjorgvin/cuba" TargetMode="External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4C0A49F4-273F-38FD-C3B6-8C195E0D56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4C0A49F4-273F-38FD-C3B6-8C195E0D5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tel 11">
            <a:extLst>
              <a:ext uri="{FF2B5EF4-FFF2-40B4-BE49-F238E27FC236}">
                <a16:creationId xmlns:a16="http://schemas.microsoft.com/office/drawing/2014/main" id="{1B17ACF4-31D9-A30B-80C9-051E4AE1E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602" y="216264"/>
            <a:ext cx="11652017" cy="863600"/>
          </a:xfrm>
          <a:ln w="28575">
            <a:solidFill>
              <a:schemeClr val="accent2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cap="all" spc="100" dirty="0">
                <a:solidFill>
                  <a:srgbClr val="FF0000"/>
                </a:solidFill>
              </a:rPr>
              <a:t>KYRKJEOFFER TIL </a:t>
            </a:r>
            <a:r>
              <a:rPr lang="en-US" cap="all" spc="100" dirty="0" err="1">
                <a:solidFill>
                  <a:srgbClr val="FF0000"/>
                </a:solidFill>
              </a:rPr>
              <a:t>venskapskyrkja</a:t>
            </a:r>
            <a:r>
              <a:rPr lang="en-US" cap="all" spc="100" dirty="0">
                <a:solidFill>
                  <a:srgbClr val="FF0000"/>
                </a:solidFill>
              </a:rPr>
              <a:t> </a:t>
            </a:r>
            <a:r>
              <a:rPr lang="en-US" cap="all" spc="100" dirty="0" err="1">
                <a:solidFill>
                  <a:srgbClr val="FF0000"/>
                </a:solidFill>
              </a:rPr>
              <a:t>på</a:t>
            </a:r>
            <a:r>
              <a:rPr lang="en-US" cap="all" spc="100" dirty="0">
                <a:solidFill>
                  <a:srgbClr val="FF0000"/>
                </a:solidFill>
              </a:rPr>
              <a:t> CUBA</a:t>
            </a:r>
          </a:p>
        </p:txBody>
      </p:sp>
      <p:sp>
        <p:nvSpPr>
          <p:cNvPr id="11" name="Plassholder for lysbildenummer 10">
            <a:extLst>
              <a:ext uri="{FF2B5EF4-FFF2-40B4-BE49-F238E27FC236}">
                <a16:creationId xmlns:a16="http://schemas.microsoft.com/office/drawing/2014/main" id="{ED59D2BB-FA51-DEB5-02DD-E6AB91358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7306C-81BA-4795-A5CA-9392456A8C1E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D90000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srgbClr val="D90000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989B96B1-AA1F-63B7-6AC6-D4B9EA7ADF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4603" y="1264550"/>
            <a:ext cx="5180618" cy="3911471"/>
          </a:xfrm>
          <a:prstGeom prst="rect">
            <a:avLst/>
          </a:prstGeom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3F9FD75-6171-5B9C-73F2-5B38584E884C}"/>
              </a:ext>
            </a:extLst>
          </p:cNvPr>
          <p:cNvSpPr txBox="1"/>
          <p:nvPr/>
        </p:nvSpPr>
        <p:spPr>
          <a:xfrm>
            <a:off x="5585221" y="1114957"/>
            <a:ext cx="6520230" cy="30715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1800" b="1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va rekk kronene til?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0 dollar (ca. 1.100 kr) er pastorløn i ein månad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-12 personar som månadleg gjev 100 kr/</a:t>
            </a:r>
            <a:r>
              <a:rPr kumimoji="0" lang="nn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nd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inansierer løn til ein pastor eller diakon i venskapskyrkja vår. 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spedømet og Normisjon sende våren 2023 ei hjelpesending med brukte klede, syklar </a:t>
            </a:r>
            <a:r>
              <a:rPr kumimoji="0" lang="nn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.v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+ mat og hygieneartiklar for ca. 200.000 kroner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spedømet vurderer ny hjelpesending til Cuba rundt årsskiftet 2023/24</a:t>
            </a:r>
            <a:endParaRPr kumimoji="0" lang="nn-NO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FF155BE8-E389-6EC8-41A8-670F52AF9F1C}"/>
              </a:ext>
            </a:extLst>
          </p:cNvPr>
          <p:cNvSpPr txBox="1"/>
          <p:nvPr/>
        </p:nvSpPr>
        <p:spPr>
          <a:xfrm>
            <a:off x="410951" y="5815317"/>
            <a:ext cx="4993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ir om Cub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å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www.kyrkja.no/bjorgvin/cub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8021F2DC-8744-75E3-ABAD-B08ED0BD8F9E}"/>
              </a:ext>
            </a:extLst>
          </p:cNvPr>
          <p:cNvSpPr txBox="1"/>
          <p:nvPr/>
        </p:nvSpPr>
        <p:spPr>
          <a:xfrm>
            <a:off x="404603" y="5288023"/>
            <a:ext cx="50000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let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å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yrkjelydsbarnehag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Gate 9 – Santiago de Cuba 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C6CE5F8D-21AF-B967-48F6-B17AC53A554D}"/>
              </a:ext>
            </a:extLst>
          </p:cNvPr>
          <p:cNvSpPr txBox="1"/>
          <p:nvPr/>
        </p:nvSpPr>
        <p:spPr>
          <a:xfrm>
            <a:off x="5685073" y="4221596"/>
            <a:ext cx="6251554" cy="1783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1800" b="1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lik kan du gje i dag: 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skriv det som gjeld, eks.:]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Vipps-nummeret til kyrkja: </a:t>
            </a:r>
            <a:r>
              <a:rPr kumimoji="0" lang="nn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xxxxx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]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B</a:t>
            </a:r>
            <a:r>
              <a:rPr kumimoji="0" lang="nn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kterminal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lassert [kvar?]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Gang rundt altaret, korg i benkene/ved utgangen eller anna]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05D529A3-252B-35BB-A550-0EB39D763C30}"/>
              </a:ext>
            </a:extLst>
          </p:cNvPr>
          <p:cNvSpPr txBox="1"/>
          <p:nvPr/>
        </p:nvSpPr>
        <p:spPr>
          <a:xfrm>
            <a:off x="5685073" y="6040191"/>
            <a:ext cx="60959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kkar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åva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u/de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l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je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nskapskyrkja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å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uba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g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nsker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uds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igning!</a:t>
            </a:r>
          </a:p>
        </p:txBody>
      </p:sp>
    </p:spTree>
    <p:extLst>
      <p:ext uri="{BB962C8B-B14F-4D97-AF65-F5344CB8AC3E}">
        <p14:creationId xmlns:p14="http://schemas.microsoft.com/office/powerpoint/2010/main" val="235802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n norske kirke_ppt mal">
  <a:themeElements>
    <a:clrScheme name="Den norske kirke 1">
      <a:dk1>
        <a:srgbClr val="000000"/>
      </a:dk1>
      <a:lt1>
        <a:srgbClr val="FFFFFF"/>
      </a:lt1>
      <a:dk2>
        <a:srgbClr val="670019"/>
      </a:dk2>
      <a:lt2>
        <a:srgbClr val="EBE6D6"/>
      </a:lt2>
      <a:accent1>
        <a:srgbClr val="D90000"/>
      </a:accent1>
      <a:accent2>
        <a:srgbClr val="D9A605"/>
      </a:accent2>
      <a:accent3>
        <a:srgbClr val="82027E"/>
      </a:accent3>
      <a:accent4>
        <a:srgbClr val="C89BCB"/>
      </a:accent4>
      <a:accent5>
        <a:srgbClr val="4CAB27"/>
      </a:accent5>
      <a:accent6>
        <a:srgbClr val="1D7853"/>
      </a:accent6>
      <a:hlink>
        <a:srgbClr val="D90000"/>
      </a:hlink>
      <a:folHlink>
        <a:srgbClr val="66001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nk_powerpointMAL_2021_16x9_bokmål" id="{7A4FB302-C45E-4B1E-A747-689CAFF62CBB}" vid="{942C7A09-C74A-40EA-A695-B45349A7B93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3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6" baseType="lpstr">
      <vt:lpstr>Arial</vt:lpstr>
      <vt:lpstr>Calibri</vt:lpstr>
      <vt:lpstr>Symbol</vt:lpstr>
      <vt:lpstr>Den norske kirke_ppt mal</vt:lpstr>
      <vt:lpstr>think-cell Slide</vt:lpstr>
      <vt:lpstr>KYRKJEOFFER TIL venskapskyrkja på CUB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YRKJEOFFER TIL venskapskyrkja på CUBA</dc:title>
  <dc:creator>Kjell Ove Hatlem</dc:creator>
  <cp:lastModifiedBy>Geir Endre Kristoffersen</cp:lastModifiedBy>
  <cp:revision>1</cp:revision>
  <dcterms:created xsi:type="dcterms:W3CDTF">2023-09-28T07:05:33Z</dcterms:created>
  <dcterms:modified xsi:type="dcterms:W3CDTF">2023-09-28T12:43:55Z</dcterms:modified>
</cp:coreProperties>
</file>